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278" r:id="rId3"/>
    <p:sldId id="280" r:id="rId4"/>
    <p:sldId id="282" r:id="rId5"/>
    <p:sldId id="284" r:id="rId6"/>
    <p:sldId id="281" r:id="rId7"/>
    <p:sldId id="279" r:id="rId8"/>
    <p:sldId id="283" r:id="rId9"/>
    <p:sldId id="285" r:id="rId10"/>
    <p:sldId id="286" r:id="rId11"/>
    <p:sldId id="287" r:id="rId12"/>
    <p:sldId id="288" r:id="rId13"/>
    <p:sldId id="289" r:id="rId14"/>
    <p:sldId id="262" r:id="rId15"/>
  </p:sldIdLst>
  <p:sldSz cx="9144000" cy="6858000" type="screen4x3"/>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6E72"/>
    <a:srgbClr val="0094C8"/>
    <a:srgbClr val="D7196A"/>
    <a:srgbClr val="15B0C3"/>
    <a:srgbClr val="15B0CF"/>
    <a:srgbClr val="EC6E72"/>
    <a:srgbClr val="E3DE00"/>
    <a:srgbClr val="B9B600"/>
    <a:srgbClr val="B6B914"/>
    <a:srgbClr val="9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71" autoAdjust="0"/>
    <p:restoredTop sz="75047" autoAdjust="0"/>
  </p:normalViewPr>
  <p:slideViewPr>
    <p:cSldViewPr snapToGrid="0" snapToObjects="1">
      <p:cViewPr varScale="1">
        <p:scale>
          <a:sx n="74" d="100"/>
          <a:sy n="74" d="100"/>
        </p:scale>
        <p:origin x="1368"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_rels/data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image" Target="../media/image2.jpg"/></Relationships>
</file>

<file path=ppt/diagrams/_rels/drawing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g"/><Relationship Id="rId1" Type="http://schemas.openxmlformats.org/officeDocument/2006/relationships/image" Target="../media/image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51810E-81A0-408C-9975-287E9646565E}"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en-IN"/>
        </a:p>
      </dgm:t>
    </dgm:pt>
    <dgm:pt modelId="{A59F21D3-2C7C-4D57-B778-0716FA98F7DC}">
      <dgm:prSet phldrT="[Text]"/>
      <dgm:spPr/>
      <dgm:t>
        <a:bodyPr/>
        <a:lstStyle/>
        <a:p>
          <a:r>
            <a:rPr lang="en-IN" dirty="0" smtClean="0"/>
            <a:t>Ionic Framework</a:t>
          </a:r>
          <a:endParaRPr lang="en-IN" dirty="0"/>
        </a:p>
      </dgm:t>
    </dgm:pt>
    <dgm:pt modelId="{03B40916-D01E-402D-8ADF-D53740D07389}" type="parTrans" cxnId="{CBAA8E5B-7D83-47DD-9376-AB76DBFB9BC8}">
      <dgm:prSet/>
      <dgm:spPr/>
      <dgm:t>
        <a:bodyPr/>
        <a:lstStyle/>
        <a:p>
          <a:endParaRPr lang="en-IN"/>
        </a:p>
      </dgm:t>
    </dgm:pt>
    <dgm:pt modelId="{2E8B7C86-A8D2-4E1F-BFC1-F66FEB84A8A7}" type="sibTrans" cxnId="{CBAA8E5B-7D83-47DD-9376-AB76DBFB9BC8}">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42000" r="-42000"/>
          </a:stretch>
        </a:blipFill>
      </dgm:spPr>
      <dgm:t>
        <a:bodyPr/>
        <a:lstStyle/>
        <a:p>
          <a:endParaRPr lang="en-IN"/>
        </a:p>
      </dgm:t>
    </dgm:pt>
    <dgm:pt modelId="{F18FE321-4DE3-42F3-8637-2E2A6A5B3BBE}">
      <dgm:prSet phldrT="[Text]"/>
      <dgm:spPr/>
      <dgm:t>
        <a:bodyPr/>
        <a:lstStyle/>
        <a:p>
          <a:r>
            <a:rPr lang="en-IN" dirty="0" smtClean="0"/>
            <a:t>Mobile App Development</a:t>
          </a:r>
          <a:endParaRPr lang="en-IN" dirty="0"/>
        </a:p>
      </dgm:t>
    </dgm:pt>
    <dgm:pt modelId="{4CCB5C61-EBBF-44FB-8D49-DBB2D2A6D236}" type="parTrans" cxnId="{942C24BC-D4FE-42AA-99A2-DD03416F0361}">
      <dgm:prSet/>
      <dgm:spPr/>
      <dgm:t>
        <a:bodyPr/>
        <a:lstStyle/>
        <a:p>
          <a:endParaRPr lang="en-IN"/>
        </a:p>
      </dgm:t>
    </dgm:pt>
    <dgm:pt modelId="{3F2DBF7C-B232-4B57-98E2-17BA9A91E259}" type="sibTrans" cxnId="{942C24BC-D4FE-42AA-99A2-DD03416F0361}">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11000" r="-11000"/>
          </a:stretch>
        </a:blipFill>
      </dgm:spPr>
      <dgm:t>
        <a:bodyPr/>
        <a:lstStyle/>
        <a:p>
          <a:endParaRPr lang="en-IN"/>
        </a:p>
      </dgm:t>
    </dgm:pt>
    <dgm:pt modelId="{6B48687A-E86E-4546-9B36-2D01D77C61F0}">
      <dgm:prSet phldrT="[Text]"/>
      <dgm:spPr/>
      <dgm:t>
        <a:bodyPr/>
        <a:lstStyle/>
        <a:p>
          <a:r>
            <a:rPr lang="en-IN" dirty="0" smtClean="0"/>
            <a:t>Hybrid App</a:t>
          </a:r>
          <a:endParaRPr lang="en-IN" dirty="0"/>
        </a:p>
      </dgm:t>
    </dgm:pt>
    <dgm:pt modelId="{9E485D9E-1954-4531-854B-F6C87B6A0965}" type="sibTrans" cxnId="{5CD4688B-8009-41DB-880D-37EFE384498C}">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dgm:spPr>
      <dgm:t>
        <a:bodyPr/>
        <a:lstStyle/>
        <a:p>
          <a:endParaRPr lang="en-IN"/>
        </a:p>
      </dgm:t>
    </dgm:pt>
    <dgm:pt modelId="{3231EBFD-8394-4883-9737-8780DA637E53}" type="parTrans" cxnId="{5CD4688B-8009-41DB-880D-37EFE384498C}">
      <dgm:prSet/>
      <dgm:spPr/>
      <dgm:t>
        <a:bodyPr/>
        <a:lstStyle/>
        <a:p>
          <a:endParaRPr lang="en-IN"/>
        </a:p>
      </dgm:t>
    </dgm:pt>
    <dgm:pt modelId="{99F483B5-A47C-4269-8ABD-5F81EEF285B9}" type="pres">
      <dgm:prSet presAssocID="{CF51810E-81A0-408C-9975-287E9646565E}" presName="Name0" presStyleCnt="0">
        <dgm:presLayoutVars>
          <dgm:chMax val="21"/>
          <dgm:chPref val="21"/>
        </dgm:presLayoutVars>
      </dgm:prSet>
      <dgm:spPr/>
      <dgm:t>
        <a:bodyPr/>
        <a:lstStyle/>
        <a:p>
          <a:endParaRPr lang="en-IN"/>
        </a:p>
      </dgm:t>
    </dgm:pt>
    <dgm:pt modelId="{5F5CD253-F405-4452-BC66-CD40844925B3}" type="pres">
      <dgm:prSet presAssocID="{F18FE321-4DE3-42F3-8637-2E2A6A5B3BBE}" presName="text1" presStyleCnt="0"/>
      <dgm:spPr/>
    </dgm:pt>
    <dgm:pt modelId="{15CEC4AA-2D75-47CB-A88D-B8973575F530}" type="pres">
      <dgm:prSet presAssocID="{F18FE321-4DE3-42F3-8637-2E2A6A5B3BBE}" presName="textRepeatNode" presStyleLbl="alignNode1" presStyleIdx="0" presStyleCnt="3">
        <dgm:presLayoutVars>
          <dgm:chMax val="0"/>
          <dgm:chPref val="0"/>
          <dgm:bulletEnabled val="1"/>
        </dgm:presLayoutVars>
      </dgm:prSet>
      <dgm:spPr/>
      <dgm:t>
        <a:bodyPr/>
        <a:lstStyle/>
        <a:p>
          <a:endParaRPr lang="en-IN"/>
        </a:p>
      </dgm:t>
    </dgm:pt>
    <dgm:pt modelId="{791DA510-9CC7-48A9-9A63-9E3D949FDA8C}" type="pres">
      <dgm:prSet presAssocID="{F18FE321-4DE3-42F3-8637-2E2A6A5B3BBE}" presName="textaccent1" presStyleCnt="0"/>
      <dgm:spPr/>
    </dgm:pt>
    <dgm:pt modelId="{F28AE95F-D38C-43B9-910F-D7FE0A7324E0}" type="pres">
      <dgm:prSet presAssocID="{F18FE321-4DE3-42F3-8637-2E2A6A5B3BBE}" presName="accentRepeatNode" presStyleLbl="solidAlignAcc1" presStyleIdx="0" presStyleCnt="6"/>
      <dgm:spPr/>
    </dgm:pt>
    <dgm:pt modelId="{6D62B47D-23F8-44D0-A068-F83A3331D425}" type="pres">
      <dgm:prSet presAssocID="{3F2DBF7C-B232-4B57-98E2-17BA9A91E259}" presName="image1" presStyleCnt="0"/>
      <dgm:spPr/>
    </dgm:pt>
    <dgm:pt modelId="{60B7D69B-55E5-4858-B129-C9D84FD960E8}" type="pres">
      <dgm:prSet presAssocID="{3F2DBF7C-B232-4B57-98E2-17BA9A91E259}" presName="imageRepeatNode" presStyleLbl="alignAcc1" presStyleIdx="0" presStyleCnt="3"/>
      <dgm:spPr/>
      <dgm:t>
        <a:bodyPr/>
        <a:lstStyle/>
        <a:p>
          <a:endParaRPr lang="en-IN"/>
        </a:p>
      </dgm:t>
    </dgm:pt>
    <dgm:pt modelId="{5A3A1BA4-1C48-4D83-A330-E690E350B076}" type="pres">
      <dgm:prSet presAssocID="{3F2DBF7C-B232-4B57-98E2-17BA9A91E259}" presName="imageaccent1" presStyleCnt="0"/>
      <dgm:spPr/>
    </dgm:pt>
    <dgm:pt modelId="{3E7C130F-6D5A-4A2A-B4F9-20ED3E23CF2A}" type="pres">
      <dgm:prSet presAssocID="{3F2DBF7C-B232-4B57-98E2-17BA9A91E259}" presName="accentRepeatNode" presStyleLbl="solidAlignAcc1" presStyleIdx="1" presStyleCnt="6"/>
      <dgm:spPr/>
    </dgm:pt>
    <dgm:pt modelId="{DC0E419F-AA98-4D44-8879-4C0D3093B266}" type="pres">
      <dgm:prSet presAssocID="{A59F21D3-2C7C-4D57-B778-0716FA98F7DC}" presName="text2" presStyleCnt="0"/>
      <dgm:spPr/>
    </dgm:pt>
    <dgm:pt modelId="{5F4EF9F6-4AD8-4A8A-B2B0-B7506BC50049}" type="pres">
      <dgm:prSet presAssocID="{A59F21D3-2C7C-4D57-B778-0716FA98F7DC}" presName="textRepeatNode" presStyleLbl="alignNode1" presStyleIdx="1" presStyleCnt="3">
        <dgm:presLayoutVars>
          <dgm:chMax val="0"/>
          <dgm:chPref val="0"/>
          <dgm:bulletEnabled val="1"/>
        </dgm:presLayoutVars>
      </dgm:prSet>
      <dgm:spPr/>
      <dgm:t>
        <a:bodyPr/>
        <a:lstStyle/>
        <a:p>
          <a:endParaRPr lang="en-IN"/>
        </a:p>
      </dgm:t>
    </dgm:pt>
    <dgm:pt modelId="{DDE5DFDF-76A9-4858-B4A9-07CD3CB0ED68}" type="pres">
      <dgm:prSet presAssocID="{A59F21D3-2C7C-4D57-B778-0716FA98F7DC}" presName="textaccent2" presStyleCnt="0"/>
      <dgm:spPr/>
    </dgm:pt>
    <dgm:pt modelId="{F8FA57B0-5803-464B-8056-E2A73F5E4D81}" type="pres">
      <dgm:prSet presAssocID="{A59F21D3-2C7C-4D57-B778-0716FA98F7DC}" presName="accentRepeatNode" presStyleLbl="solidAlignAcc1" presStyleIdx="2" presStyleCnt="6"/>
      <dgm:spPr/>
    </dgm:pt>
    <dgm:pt modelId="{7F465EAE-043D-4E64-B30F-ABCCC3CFE877}" type="pres">
      <dgm:prSet presAssocID="{2E8B7C86-A8D2-4E1F-BFC1-F66FEB84A8A7}" presName="image2" presStyleCnt="0"/>
      <dgm:spPr/>
    </dgm:pt>
    <dgm:pt modelId="{C212CC31-25CA-4F73-9DDA-B22C49A7C230}" type="pres">
      <dgm:prSet presAssocID="{2E8B7C86-A8D2-4E1F-BFC1-F66FEB84A8A7}" presName="imageRepeatNode" presStyleLbl="alignAcc1" presStyleIdx="1" presStyleCnt="3" custLinFactNeighborX="-85356" custLinFactNeighborY="71992"/>
      <dgm:spPr/>
      <dgm:t>
        <a:bodyPr/>
        <a:lstStyle/>
        <a:p>
          <a:endParaRPr lang="en-IN"/>
        </a:p>
      </dgm:t>
    </dgm:pt>
    <dgm:pt modelId="{336D90F5-F7A7-4AED-BBBF-EA6C0907F19A}" type="pres">
      <dgm:prSet presAssocID="{2E8B7C86-A8D2-4E1F-BFC1-F66FEB84A8A7}" presName="imageaccent2" presStyleCnt="0"/>
      <dgm:spPr/>
    </dgm:pt>
    <dgm:pt modelId="{CCB53A3E-A66D-4C2C-8D47-1EF09B58CE43}" type="pres">
      <dgm:prSet presAssocID="{2E8B7C86-A8D2-4E1F-BFC1-F66FEB84A8A7}" presName="accentRepeatNode" presStyleLbl="solidAlignAcc1" presStyleIdx="3" presStyleCnt="6" custLinFactX="-87953" custLinFactY="18950" custLinFactNeighborX="-100000" custLinFactNeighborY="100000"/>
      <dgm:spPr/>
    </dgm:pt>
    <dgm:pt modelId="{B8DF0738-682C-416B-A786-53F39B07CA6B}" type="pres">
      <dgm:prSet presAssocID="{6B48687A-E86E-4546-9B36-2D01D77C61F0}" presName="text3" presStyleCnt="0"/>
      <dgm:spPr/>
    </dgm:pt>
    <dgm:pt modelId="{1B006DFC-90F8-47B2-B516-05FC6F713972}" type="pres">
      <dgm:prSet presAssocID="{6B48687A-E86E-4546-9B36-2D01D77C61F0}" presName="textRepeatNode" presStyleLbl="alignNode1" presStyleIdx="2" presStyleCnt="3">
        <dgm:presLayoutVars>
          <dgm:chMax val="0"/>
          <dgm:chPref val="0"/>
          <dgm:bulletEnabled val="1"/>
        </dgm:presLayoutVars>
      </dgm:prSet>
      <dgm:spPr/>
      <dgm:t>
        <a:bodyPr/>
        <a:lstStyle/>
        <a:p>
          <a:endParaRPr lang="en-IN"/>
        </a:p>
      </dgm:t>
    </dgm:pt>
    <dgm:pt modelId="{A82A374A-49E5-4BE0-9DB2-FDC3D10F4EFD}" type="pres">
      <dgm:prSet presAssocID="{6B48687A-E86E-4546-9B36-2D01D77C61F0}" presName="textaccent3" presStyleCnt="0"/>
      <dgm:spPr/>
    </dgm:pt>
    <dgm:pt modelId="{7FA03A84-55C6-4926-A08C-30AA9B1FFFD9}" type="pres">
      <dgm:prSet presAssocID="{6B48687A-E86E-4546-9B36-2D01D77C61F0}" presName="accentRepeatNode" presStyleLbl="solidAlignAcc1" presStyleIdx="4" presStyleCnt="6"/>
      <dgm:spPr/>
    </dgm:pt>
    <dgm:pt modelId="{93C015E1-6EBB-41B8-BC35-C45C4D454D8D}" type="pres">
      <dgm:prSet presAssocID="{9E485D9E-1954-4531-854B-F6C87B6A0965}" presName="image3" presStyleCnt="0"/>
      <dgm:spPr/>
    </dgm:pt>
    <dgm:pt modelId="{09429DB8-80DF-44D9-8657-7AFFE47A3217}" type="pres">
      <dgm:prSet presAssocID="{9E485D9E-1954-4531-854B-F6C87B6A0965}" presName="imageRepeatNode" presStyleLbl="alignAcc1" presStyleIdx="2" presStyleCnt="3"/>
      <dgm:spPr/>
      <dgm:t>
        <a:bodyPr/>
        <a:lstStyle/>
        <a:p>
          <a:endParaRPr lang="en-IN"/>
        </a:p>
      </dgm:t>
    </dgm:pt>
    <dgm:pt modelId="{AEAA1C16-3FDD-4F7F-9A1D-68B0EDA7C1DC}" type="pres">
      <dgm:prSet presAssocID="{9E485D9E-1954-4531-854B-F6C87B6A0965}" presName="imageaccent3" presStyleCnt="0"/>
      <dgm:spPr/>
    </dgm:pt>
    <dgm:pt modelId="{50C41713-52E0-48AA-A2FC-BE77DA4F4B19}" type="pres">
      <dgm:prSet presAssocID="{9E485D9E-1954-4531-854B-F6C87B6A0965}" presName="accentRepeatNode" presStyleLbl="solidAlignAcc1" presStyleIdx="5" presStyleCnt="6"/>
      <dgm:spPr/>
    </dgm:pt>
  </dgm:ptLst>
  <dgm:cxnLst>
    <dgm:cxn modelId="{5CD4688B-8009-41DB-880D-37EFE384498C}" srcId="{CF51810E-81A0-408C-9975-287E9646565E}" destId="{6B48687A-E86E-4546-9B36-2D01D77C61F0}" srcOrd="2" destOrd="0" parTransId="{3231EBFD-8394-4883-9737-8780DA637E53}" sibTransId="{9E485D9E-1954-4531-854B-F6C87B6A0965}"/>
    <dgm:cxn modelId="{D56C9A20-B845-4FA9-A914-97AAA12C9944}" type="presOf" srcId="{F18FE321-4DE3-42F3-8637-2E2A6A5B3BBE}" destId="{15CEC4AA-2D75-47CB-A88D-B8973575F530}" srcOrd="0" destOrd="0" presId="urn:microsoft.com/office/officeart/2008/layout/HexagonCluster"/>
    <dgm:cxn modelId="{6712D4BD-E3F2-4380-80A5-458E9AA80684}" type="presOf" srcId="{A59F21D3-2C7C-4D57-B778-0716FA98F7DC}" destId="{5F4EF9F6-4AD8-4A8A-B2B0-B7506BC50049}" srcOrd="0" destOrd="0" presId="urn:microsoft.com/office/officeart/2008/layout/HexagonCluster"/>
    <dgm:cxn modelId="{7FE00FC4-85A9-4B06-84E6-183D4C736A72}" type="presOf" srcId="{6B48687A-E86E-4546-9B36-2D01D77C61F0}" destId="{1B006DFC-90F8-47B2-B516-05FC6F713972}" srcOrd="0" destOrd="0" presId="urn:microsoft.com/office/officeart/2008/layout/HexagonCluster"/>
    <dgm:cxn modelId="{8BC9DA16-5DD8-4952-BE24-CC07A8E70065}" type="presOf" srcId="{2E8B7C86-A8D2-4E1F-BFC1-F66FEB84A8A7}" destId="{C212CC31-25CA-4F73-9DDA-B22C49A7C230}" srcOrd="0" destOrd="0" presId="urn:microsoft.com/office/officeart/2008/layout/HexagonCluster"/>
    <dgm:cxn modelId="{78B97EB5-24C4-4787-BA94-FF402DF0288A}" type="presOf" srcId="{9E485D9E-1954-4531-854B-F6C87B6A0965}" destId="{09429DB8-80DF-44D9-8657-7AFFE47A3217}" srcOrd="0" destOrd="0" presId="urn:microsoft.com/office/officeart/2008/layout/HexagonCluster"/>
    <dgm:cxn modelId="{942C24BC-D4FE-42AA-99A2-DD03416F0361}" srcId="{CF51810E-81A0-408C-9975-287E9646565E}" destId="{F18FE321-4DE3-42F3-8637-2E2A6A5B3BBE}" srcOrd="0" destOrd="0" parTransId="{4CCB5C61-EBBF-44FB-8D49-DBB2D2A6D236}" sibTransId="{3F2DBF7C-B232-4B57-98E2-17BA9A91E259}"/>
    <dgm:cxn modelId="{A98C9117-7172-4485-87C8-973BD178A984}" type="presOf" srcId="{CF51810E-81A0-408C-9975-287E9646565E}" destId="{99F483B5-A47C-4269-8ABD-5F81EEF285B9}" srcOrd="0" destOrd="0" presId="urn:microsoft.com/office/officeart/2008/layout/HexagonCluster"/>
    <dgm:cxn modelId="{CBAA8E5B-7D83-47DD-9376-AB76DBFB9BC8}" srcId="{CF51810E-81A0-408C-9975-287E9646565E}" destId="{A59F21D3-2C7C-4D57-B778-0716FA98F7DC}" srcOrd="1" destOrd="0" parTransId="{03B40916-D01E-402D-8ADF-D53740D07389}" sibTransId="{2E8B7C86-A8D2-4E1F-BFC1-F66FEB84A8A7}"/>
    <dgm:cxn modelId="{184C10F6-2AE4-4618-81EC-A462846F65C1}" type="presOf" srcId="{3F2DBF7C-B232-4B57-98E2-17BA9A91E259}" destId="{60B7D69B-55E5-4858-B129-C9D84FD960E8}" srcOrd="0" destOrd="0" presId="urn:microsoft.com/office/officeart/2008/layout/HexagonCluster"/>
    <dgm:cxn modelId="{830BFAE6-F152-4231-8062-07B73D7E47BF}" type="presParOf" srcId="{99F483B5-A47C-4269-8ABD-5F81EEF285B9}" destId="{5F5CD253-F405-4452-BC66-CD40844925B3}" srcOrd="0" destOrd="0" presId="urn:microsoft.com/office/officeart/2008/layout/HexagonCluster"/>
    <dgm:cxn modelId="{9920907C-DF00-4743-82CC-3C0A6A3F7103}" type="presParOf" srcId="{5F5CD253-F405-4452-BC66-CD40844925B3}" destId="{15CEC4AA-2D75-47CB-A88D-B8973575F530}" srcOrd="0" destOrd="0" presId="urn:microsoft.com/office/officeart/2008/layout/HexagonCluster"/>
    <dgm:cxn modelId="{5672E5C3-4703-4522-B7DB-7185D42D1C8D}" type="presParOf" srcId="{99F483B5-A47C-4269-8ABD-5F81EEF285B9}" destId="{791DA510-9CC7-48A9-9A63-9E3D949FDA8C}" srcOrd="1" destOrd="0" presId="urn:microsoft.com/office/officeart/2008/layout/HexagonCluster"/>
    <dgm:cxn modelId="{08AA3EEA-6F98-42A3-9027-9F4754615F33}" type="presParOf" srcId="{791DA510-9CC7-48A9-9A63-9E3D949FDA8C}" destId="{F28AE95F-D38C-43B9-910F-D7FE0A7324E0}" srcOrd="0" destOrd="0" presId="urn:microsoft.com/office/officeart/2008/layout/HexagonCluster"/>
    <dgm:cxn modelId="{1E44C582-F18E-4395-93E2-51A661C740C3}" type="presParOf" srcId="{99F483B5-A47C-4269-8ABD-5F81EEF285B9}" destId="{6D62B47D-23F8-44D0-A068-F83A3331D425}" srcOrd="2" destOrd="0" presId="urn:microsoft.com/office/officeart/2008/layout/HexagonCluster"/>
    <dgm:cxn modelId="{04C8F02F-E8D1-4133-8E7E-3DCB16054D31}" type="presParOf" srcId="{6D62B47D-23F8-44D0-A068-F83A3331D425}" destId="{60B7D69B-55E5-4858-B129-C9D84FD960E8}" srcOrd="0" destOrd="0" presId="urn:microsoft.com/office/officeart/2008/layout/HexagonCluster"/>
    <dgm:cxn modelId="{CF4739AC-06B1-43F6-8D16-3E478E72148C}" type="presParOf" srcId="{99F483B5-A47C-4269-8ABD-5F81EEF285B9}" destId="{5A3A1BA4-1C48-4D83-A330-E690E350B076}" srcOrd="3" destOrd="0" presId="urn:microsoft.com/office/officeart/2008/layout/HexagonCluster"/>
    <dgm:cxn modelId="{8A85492F-7F53-46F1-BD16-38B7A9E66C3E}" type="presParOf" srcId="{5A3A1BA4-1C48-4D83-A330-E690E350B076}" destId="{3E7C130F-6D5A-4A2A-B4F9-20ED3E23CF2A}" srcOrd="0" destOrd="0" presId="urn:microsoft.com/office/officeart/2008/layout/HexagonCluster"/>
    <dgm:cxn modelId="{36F16103-454E-4F54-8425-2ED970849D6E}" type="presParOf" srcId="{99F483B5-A47C-4269-8ABD-5F81EEF285B9}" destId="{DC0E419F-AA98-4D44-8879-4C0D3093B266}" srcOrd="4" destOrd="0" presId="urn:microsoft.com/office/officeart/2008/layout/HexagonCluster"/>
    <dgm:cxn modelId="{CD7D3715-15AF-49EF-920E-2F18D64BFB8D}" type="presParOf" srcId="{DC0E419F-AA98-4D44-8879-4C0D3093B266}" destId="{5F4EF9F6-4AD8-4A8A-B2B0-B7506BC50049}" srcOrd="0" destOrd="0" presId="urn:microsoft.com/office/officeart/2008/layout/HexagonCluster"/>
    <dgm:cxn modelId="{7B4ADF32-8E1C-4040-9B5C-003A06A77133}" type="presParOf" srcId="{99F483B5-A47C-4269-8ABD-5F81EEF285B9}" destId="{DDE5DFDF-76A9-4858-B4A9-07CD3CB0ED68}" srcOrd="5" destOrd="0" presId="urn:microsoft.com/office/officeart/2008/layout/HexagonCluster"/>
    <dgm:cxn modelId="{8C679397-BF94-41BA-BFD9-12CA7D32948E}" type="presParOf" srcId="{DDE5DFDF-76A9-4858-B4A9-07CD3CB0ED68}" destId="{F8FA57B0-5803-464B-8056-E2A73F5E4D81}" srcOrd="0" destOrd="0" presId="urn:microsoft.com/office/officeart/2008/layout/HexagonCluster"/>
    <dgm:cxn modelId="{E7F04A15-D0D5-48C9-8C95-A066AD7A982E}" type="presParOf" srcId="{99F483B5-A47C-4269-8ABD-5F81EEF285B9}" destId="{7F465EAE-043D-4E64-B30F-ABCCC3CFE877}" srcOrd="6" destOrd="0" presId="urn:microsoft.com/office/officeart/2008/layout/HexagonCluster"/>
    <dgm:cxn modelId="{90DA38BA-DCA2-407D-AE9E-FE8BBFC64051}" type="presParOf" srcId="{7F465EAE-043D-4E64-B30F-ABCCC3CFE877}" destId="{C212CC31-25CA-4F73-9DDA-B22C49A7C230}" srcOrd="0" destOrd="0" presId="urn:microsoft.com/office/officeart/2008/layout/HexagonCluster"/>
    <dgm:cxn modelId="{88E199A1-2029-4A52-9C52-097E4C711774}" type="presParOf" srcId="{99F483B5-A47C-4269-8ABD-5F81EEF285B9}" destId="{336D90F5-F7A7-4AED-BBBF-EA6C0907F19A}" srcOrd="7" destOrd="0" presId="urn:microsoft.com/office/officeart/2008/layout/HexagonCluster"/>
    <dgm:cxn modelId="{E71426A6-F1E3-4B71-9C43-F21F9D01CA58}" type="presParOf" srcId="{336D90F5-F7A7-4AED-BBBF-EA6C0907F19A}" destId="{CCB53A3E-A66D-4C2C-8D47-1EF09B58CE43}" srcOrd="0" destOrd="0" presId="urn:microsoft.com/office/officeart/2008/layout/HexagonCluster"/>
    <dgm:cxn modelId="{6256C648-9C48-43A6-8F61-0F44C7266771}" type="presParOf" srcId="{99F483B5-A47C-4269-8ABD-5F81EEF285B9}" destId="{B8DF0738-682C-416B-A786-53F39B07CA6B}" srcOrd="8" destOrd="0" presId="urn:microsoft.com/office/officeart/2008/layout/HexagonCluster"/>
    <dgm:cxn modelId="{8B98AD32-1647-4120-8C0E-217C6603F8F7}" type="presParOf" srcId="{B8DF0738-682C-416B-A786-53F39B07CA6B}" destId="{1B006DFC-90F8-47B2-B516-05FC6F713972}" srcOrd="0" destOrd="0" presId="urn:microsoft.com/office/officeart/2008/layout/HexagonCluster"/>
    <dgm:cxn modelId="{41ACA7E3-F6D6-483B-9681-2210DA20FC6A}" type="presParOf" srcId="{99F483B5-A47C-4269-8ABD-5F81EEF285B9}" destId="{A82A374A-49E5-4BE0-9DB2-FDC3D10F4EFD}" srcOrd="9" destOrd="0" presId="urn:microsoft.com/office/officeart/2008/layout/HexagonCluster"/>
    <dgm:cxn modelId="{4B2DF200-1A4F-4364-9AF3-CC7F469E4A63}" type="presParOf" srcId="{A82A374A-49E5-4BE0-9DB2-FDC3D10F4EFD}" destId="{7FA03A84-55C6-4926-A08C-30AA9B1FFFD9}" srcOrd="0" destOrd="0" presId="urn:microsoft.com/office/officeart/2008/layout/HexagonCluster"/>
    <dgm:cxn modelId="{6BE7F5E4-6235-4894-BCA3-A54AB6BC5128}" type="presParOf" srcId="{99F483B5-A47C-4269-8ABD-5F81EEF285B9}" destId="{93C015E1-6EBB-41B8-BC35-C45C4D454D8D}" srcOrd="10" destOrd="0" presId="urn:microsoft.com/office/officeart/2008/layout/HexagonCluster"/>
    <dgm:cxn modelId="{B53A53A9-D65E-4EB3-BD13-F883FAB3567E}" type="presParOf" srcId="{93C015E1-6EBB-41B8-BC35-C45C4D454D8D}" destId="{09429DB8-80DF-44D9-8657-7AFFE47A3217}" srcOrd="0" destOrd="0" presId="urn:microsoft.com/office/officeart/2008/layout/HexagonCluster"/>
    <dgm:cxn modelId="{38628EA4-6522-41E7-969E-5C8CE86111D4}" type="presParOf" srcId="{99F483B5-A47C-4269-8ABD-5F81EEF285B9}" destId="{AEAA1C16-3FDD-4F7F-9A1D-68B0EDA7C1DC}" srcOrd="11" destOrd="0" presId="urn:microsoft.com/office/officeart/2008/layout/HexagonCluster"/>
    <dgm:cxn modelId="{65D4A64E-318F-4BB9-ABD4-32BDF5F74EC7}" type="presParOf" srcId="{AEAA1C16-3FDD-4F7F-9A1D-68B0EDA7C1DC}" destId="{50C41713-52E0-48AA-A2FC-BE77DA4F4B19}" srcOrd="0" destOrd="0" presId="urn:microsoft.com/office/officeart/2008/layout/HexagonCluster"/>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EC4AA-2D75-47CB-A88D-B8973575F530}">
      <dsp:nvSpPr>
        <dsp:cNvPr id="0" name=""/>
        <dsp:cNvSpPr/>
      </dsp:nvSpPr>
      <dsp:spPr>
        <a:xfrm>
          <a:off x="1650900" y="3693057"/>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Mobile App Development</a:t>
          </a:r>
          <a:endParaRPr lang="en-IN" sz="1900" kern="1200" dirty="0"/>
        </a:p>
      </dsp:txBody>
      <dsp:txXfrm>
        <a:off x="1950605" y="3951454"/>
        <a:ext cx="1331911" cy="1148340"/>
      </dsp:txXfrm>
    </dsp:sp>
    <dsp:sp modelId="{F28AE95F-D38C-43B9-910F-D7FE0A7324E0}">
      <dsp:nvSpPr>
        <dsp:cNvPr id="0" name=""/>
        <dsp:cNvSpPr/>
      </dsp:nvSpPr>
      <dsp:spPr>
        <a:xfrm>
          <a:off x="1701073" y="442818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B7D69B-55E5-4858-B129-C9D84FD960E8}">
      <dsp:nvSpPr>
        <dsp:cNvPr id="0" name=""/>
        <dsp:cNvSpPr/>
      </dsp:nvSpPr>
      <dsp:spPr>
        <a:xfrm>
          <a:off x="0" y="2798680"/>
          <a:ext cx="1931320" cy="1665134"/>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1000" r="-1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7C130F-6D5A-4A2A-B4F9-20ED3E23CF2A}">
      <dsp:nvSpPr>
        <dsp:cNvPr id="0" name=""/>
        <dsp:cNvSpPr/>
      </dsp:nvSpPr>
      <dsp:spPr>
        <a:xfrm>
          <a:off x="1314809" y="424385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4EF9F6-4AD8-4A8A-B2B0-B7506BC50049}">
      <dsp:nvSpPr>
        <dsp:cNvPr id="0" name=""/>
        <dsp:cNvSpPr/>
      </dsp:nvSpPr>
      <dsp:spPr>
        <a:xfrm>
          <a:off x="3296302" y="2778883"/>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Ionic Framework</a:t>
          </a:r>
          <a:endParaRPr lang="en-IN" sz="1900" kern="1200" dirty="0"/>
        </a:p>
      </dsp:txBody>
      <dsp:txXfrm>
        <a:off x="3596007" y="3037280"/>
        <a:ext cx="1331911" cy="1148340"/>
      </dsp:txXfrm>
    </dsp:sp>
    <dsp:sp modelId="{F8FA57B0-5803-464B-8056-E2A73F5E4D81}">
      <dsp:nvSpPr>
        <dsp:cNvPr id="0" name=""/>
        <dsp:cNvSpPr/>
      </dsp:nvSpPr>
      <dsp:spPr>
        <a:xfrm>
          <a:off x="4616610" y="4222293"/>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12CC31-25CA-4F73-9DDA-B22C49A7C230}">
      <dsp:nvSpPr>
        <dsp:cNvPr id="0" name=""/>
        <dsp:cNvSpPr/>
      </dsp:nvSpPr>
      <dsp:spPr>
        <a:xfrm>
          <a:off x="3293207" y="4651951"/>
          <a:ext cx="1931320" cy="1665134"/>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42000" r="-42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CB53A3E-A66D-4C2C-8D47-1EF09B58CE43}">
      <dsp:nvSpPr>
        <dsp:cNvPr id="0" name=""/>
        <dsp:cNvSpPr/>
      </dsp:nvSpPr>
      <dsp:spPr>
        <a:xfrm>
          <a:off x="4566873" y="4660001"/>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006DFC-90F8-47B2-B516-05FC6F713972}">
      <dsp:nvSpPr>
        <dsp:cNvPr id="0" name=""/>
        <dsp:cNvSpPr/>
      </dsp:nvSpPr>
      <dsp:spPr>
        <a:xfrm>
          <a:off x="1650900" y="1868668"/>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Hybrid App</a:t>
          </a:r>
          <a:endParaRPr lang="en-IN" sz="1900" kern="1200" dirty="0"/>
        </a:p>
      </dsp:txBody>
      <dsp:txXfrm>
        <a:off x="1950605" y="2127065"/>
        <a:ext cx="1331911" cy="1148340"/>
      </dsp:txXfrm>
    </dsp:sp>
    <dsp:sp modelId="{7FA03A84-55C6-4926-A08C-30AA9B1FFFD9}">
      <dsp:nvSpPr>
        <dsp:cNvPr id="0" name=""/>
        <dsp:cNvSpPr/>
      </dsp:nvSpPr>
      <dsp:spPr>
        <a:xfrm>
          <a:off x="2960211" y="1904742"/>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429DB8-80DF-44D9-8657-7AFFE47A3217}">
      <dsp:nvSpPr>
        <dsp:cNvPr id="0" name=""/>
        <dsp:cNvSpPr/>
      </dsp:nvSpPr>
      <dsp:spPr>
        <a:xfrm>
          <a:off x="3296302" y="958893"/>
          <a:ext cx="1931320" cy="1665134"/>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C41713-52E0-48AA-A2FC-BE77DA4F4B19}">
      <dsp:nvSpPr>
        <dsp:cNvPr id="0" name=""/>
        <dsp:cNvSpPr/>
      </dsp:nvSpPr>
      <dsp:spPr>
        <a:xfrm>
          <a:off x="3353348" y="1690056"/>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489D33F-2AA3-4838-AAA7-A6748EC4FF9E}" type="datetimeFigureOut">
              <a:rPr lang="en-US" smtClean="0"/>
              <a:t>3/26/2015</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6F078DE-0EAB-43EC-B0D5-FB8279C2ECBF}" type="slidenum">
              <a:rPr lang="en-US" smtClean="0"/>
              <a:t>‹#›</a:t>
            </a:fld>
            <a:endParaRPr lang="en-US" dirty="0"/>
          </a:p>
        </p:txBody>
      </p:sp>
    </p:spTree>
    <p:extLst>
      <p:ext uri="{BB962C8B-B14F-4D97-AF65-F5344CB8AC3E}">
        <p14:creationId xmlns:p14="http://schemas.microsoft.com/office/powerpoint/2010/main" val="4179249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You can remove this slide if you need. But we will strongly appreciate that you help us to spread the voice and let your colleagues and audience to download our free templ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Here are a free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Prepare your presentations: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Hunter.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download free templates for your presen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Share online: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Online.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upload presentations for fr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946254F-9338-4BA9-B7AC-A66622A3D013}"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87674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7481472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946149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2099908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422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16633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42402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5358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91774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48"/>
            <a:ext cx="8229600" cy="792162"/>
          </a:xfrm>
        </p:spPr>
        <p:txBody>
          <a:bodyPr>
            <a:normAutofit/>
          </a:bodyPr>
          <a:lstStyle>
            <a:lvl1pPr algn="l">
              <a:defRPr sz="4000"/>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155197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47947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0214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3694300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905227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61824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6673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27909246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521777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3686894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a:bodyPr>
          <a:lstStyle>
            <a:lvl1pPr algn="l">
              <a:defRPr sz="4000">
                <a:solidFill>
                  <a:schemeClr val="tx1">
                    <a:lumMod val="75000"/>
                    <a:lumOff val="25000"/>
                  </a:schemeClr>
                </a:solidFill>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42828818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931924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328374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t>3/26/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772992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0D01C1-04BE-4996-AB3B-C87F51C2A1D7}" type="datetimeFigureOut">
              <a:rPr lang="en-US" smtClean="0"/>
              <a:t>3/26/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490F8C-3D0D-4DB1-B2BD-1525EA5CE111}" type="slidenum">
              <a:rPr lang="en-US" smtClean="0"/>
              <a:t>‹#›</a:t>
            </a:fld>
            <a:endParaRPr lang="en-US" dirty="0"/>
          </a:p>
        </p:txBody>
      </p:sp>
    </p:spTree>
    <p:extLst>
      <p:ext uri="{BB962C8B-B14F-4D97-AF65-F5344CB8AC3E}">
        <p14:creationId xmlns:p14="http://schemas.microsoft.com/office/powerpoint/2010/main" val="3392076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940847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6.xml"/><Relationship Id="rId7" Type="http://schemas.openxmlformats.org/officeDocument/2006/relationships/diagramLayout" Target="../diagrams/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93183" y="1030311"/>
            <a:ext cx="5203065" cy="2009104"/>
          </a:xfrm>
        </p:spPr>
        <p:txBody>
          <a:bodyPr>
            <a:normAutofit/>
          </a:bodyPr>
          <a:lstStyle/>
          <a:p>
            <a:r>
              <a:rPr lang="en-IN" dirty="0" smtClean="0">
                <a:solidFill>
                  <a:schemeClr val="tx2">
                    <a:lumMod val="75000"/>
                  </a:schemeClr>
                </a:solidFill>
                <a:latin typeface="AR JULIAN" panose="02000000000000000000" pitchFamily="2" charset="0"/>
              </a:rPr>
              <a:t>Hybrid Application </a:t>
            </a:r>
            <a:br>
              <a:rPr lang="en-IN" dirty="0" smtClean="0">
                <a:solidFill>
                  <a:schemeClr val="tx2">
                    <a:lumMod val="75000"/>
                  </a:schemeClr>
                </a:solidFill>
                <a:latin typeface="AR JULIAN" panose="02000000000000000000" pitchFamily="2" charset="0"/>
              </a:rPr>
            </a:br>
            <a:r>
              <a:rPr lang="en-IN" dirty="0" smtClean="0">
                <a:solidFill>
                  <a:schemeClr val="tx2">
                    <a:lumMod val="75000"/>
                  </a:schemeClr>
                </a:solidFill>
                <a:latin typeface="AR JULIAN" panose="02000000000000000000" pitchFamily="2" charset="0"/>
              </a:rPr>
              <a:t>   Development</a:t>
            </a:r>
            <a:endParaRPr lang="en-IN" dirty="0">
              <a:solidFill>
                <a:schemeClr val="tx2">
                  <a:lumMod val="75000"/>
                </a:schemeClr>
              </a:solidFill>
              <a:latin typeface="AR JULIAN" panose="02000000000000000000" pitchFamily="2" charset="0"/>
            </a:endParaRPr>
          </a:p>
        </p:txBody>
      </p:sp>
      <p:graphicFrame>
        <p:nvGraphicFramePr>
          <p:cNvPr id="4" name="Diagram 3"/>
          <p:cNvGraphicFramePr/>
          <p:nvPr>
            <p:extLst>
              <p:ext uri="{D42A27DB-BD31-4B8C-83A1-F6EECF244321}">
                <p14:modId xmlns:p14="http://schemas.microsoft.com/office/powerpoint/2010/main" val="1156136858"/>
              </p:ext>
            </p:extLst>
          </p:nvPr>
        </p:nvGraphicFramePr>
        <p:xfrm>
          <a:off x="3668332" y="540914"/>
          <a:ext cx="6873025" cy="631708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TextBox 4"/>
          <p:cNvSpPr txBox="1"/>
          <p:nvPr/>
        </p:nvSpPr>
        <p:spPr>
          <a:xfrm>
            <a:off x="364254" y="5175539"/>
            <a:ext cx="3304078" cy="1015663"/>
          </a:xfrm>
          <a:prstGeom prst="rect">
            <a:avLst/>
          </a:prstGeom>
          <a:noFill/>
        </p:spPr>
        <p:txBody>
          <a:bodyPr wrap="square" rtlCol="0">
            <a:spAutoFit/>
          </a:bodyPr>
          <a:lstStyle/>
          <a:p>
            <a:r>
              <a:rPr lang="en-IN" sz="2000" dirty="0" smtClean="0">
                <a:solidFill>
                  <a:schemeClr val="tx2">
                    <a:lumMod val="50000"/>
                  </a:schemeClr>
                </a:solidFill>
                <a:latin typeface="Adobe Caslon Pro" panose="0205050205050A020403" pitchFamily="18" charset="0"/>
              </a:rPr>
              <a:t>Team members:</a:t>
            </a:r>
          </a:p>
          <a:p>
            <a:r>
              <a:rPr lang="en-IN" sz="2000" dirty="0" smtClean="0">
                <a:solidFill>
                  <a:schemeClr val="tx2">
                    <a:lumMod val="50000"/>
                  </a:schemeClr>
                </a:solidFill>
                <a:latin typeface="Adobe Caslon Pro" panose="0205050205050A020403" pitchFamily="18" charset="0"/>
              </a:rPr>
              <a:t>Prathamesh </a:t>
            </a:r>
            <a:r>
              <a:rPr lang="en-IN" sz="2000" dirty="0" err="1" smtClean="0">
                <a:solidFill>
                  <a:schemeClr val="tx2">
                    <a:lumMod val="50000"/>
                  </a:schemeClr>
                </a:solidFill>
                <a:latin typeface="Adobe Caslon Pro" panose="0205050205050A020403" pitchFamily="18" charset="0"/>
              </a:rPr>
              <a:t>Bagwe</a:t>
            </a:r>
            <a:r>
              <a:rPr lang="en-IN" sz="2000">
                <a:solidFill>
                  <a:schemeClr val="tx2">
                    <a:lumMod val="50000"/>
                  </a:schemeClr>
                </a:solidFill>
                <a:latin typeface="Adobe Caslon Pro" panose="0205050205050A020403" pitchFamily="18" charset="0"/>
              </a:rPr>
              <a:t> </a:t>
            </a:r>
            <a:r>
              <a:rPr lang="en-IN" sz="2000" smtClean="0">
                <a:solidFill>
                  <a:schemeClr val="tx2">
                    <a:lumMod val="50000"/>
                  </a:schemeClr>
                </a:solidFill>
                <a:latin typeface="Adobe Caslon Pro" panose="0205050205050A020403" pitchFamily="18" charset="0"/>
              </a:rPr>
              <a:t> TE </a:t>
            </a:r>
            <a:r>
              <a:rPr lang="en-IN" sz="2000" dirty="0" smtClean="0">
                <a:solidFill>
                  <a:schemeClr val="tx2">
                    <a:lumMod val="50000"/>
                  </a:schemeClr>
                </a:solidFill>
                <a:latin typeface="Adobe Caslon Pro" panose="0205050205050A020403" pitchFamily="18" charset="0"/>
              </a:rPr>
              <a:t>IT-1</a:t>
            </a:r>
          </a:p>
          <a:p>
            <a:r>
              <a:rPr lang="en-IN" sz="2000" dirty="0" smtClean="0">
                <a:solidFill>
                  <a:schemeClr val="tx2">
                    <a:lumMod val="50000"/>
                  </a:schemeClr>
                </a:solidFill>
                <a:latin typeface="Adobe Caslon Pro" panose="0205050205050A020403" pitchFamily="18" charset="0"/>
              </a:rPr>
              <a:t>Sanket Devlekar      TE IT-1</a:t>
            </a:r>
            <a:endParaRPr lang="en-IN" sz="2000" dirty="0">
              <a:solidFill>
                <a:schemeClr val="tx2">
                  <a:lumMod val="50000"/>
                </a:schemeClr>
              </a:solidFill>
              <a:latin typeface="Adobe Caslon Pro" panose="0205050205050A020403" pitchFamily="18" charset="0"/>
            </a:endParaRPr>
          </a:p>
        </p:txBody>
      </p:sp>
    </p:spTree>
    <p:extLst>
      <p:ext uri="{BB962C8B-B14F-4D97-AF65-F5344CB8AC3E}">
        <p14:creationId xmlns:p14="http://schemas.microsoft.com/office/powerpoint/2010/main" val="6747416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6"/>
          <a:srcRect l="12882" r="12782"/>
          <a:stretch/>
        </p:blipFill>
        <p:spPr>
          <a:xfrm>
            <a:off x="-257577" y="-228600"/>
            <a:ext cx="9672033" cy="7315200"/>
          </a:xfrm>
          <a:prstGeom prst="rect">
            <a:avLst/>
          </a:prstGeom>
        </p:spPr>
      </p:pic>
    </p:spTree>
    <p:extLst>
      <p:ext uri="{BB962C8B-B14F-4D97-AF65-F5344CB8AC3E}">
        <p14:creationId xmlns:p14="http://schemas.microsoft.com/office/powerpoint/2010/main" val="15852407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 name="Picture 2"/>
          <p:cNvPicPr>
            <a:picLocks noChangeAspect="1"/>
          </p:cNvPicPr>
          <p:nvPr/>
        </p:nvPicPr>
        <p:blipFill rotWithShape="1">
          <a:blip r:embed="rId2"/>
          <a:srcRect l="13178" r="12881"/>
          <a:stretch/>
        </p:blipFill>
        <p:spPr>
          <a:xfrm>
            <a:off x="-218941" y="-215721"/>
            <a:ext cx="9620518" cy="7315200"/>
          </a:xfrm>
          <a:prstGeom prst="rect">
            <a:avLst/>
          </a:prstGeom>
        </p:spPr>
      </p:pic>
    </p:spTree>
    <p:extLst>
      <p:ext uri="{BB962C8B-B14F-4D97-AF65-F5344CB8AC3E}">
        <p14:creationId xmlns:p14="http://schemas.microsoft.com/office/powerpoint/2010/main" val="25745099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 name="Picture 2"/>
          <p:cNvPicPr>
            <a:picLocks noChangeAspect="1"/>
          </p:cNvPicPr>
          <p:nvPr/>
        </p:nvPicPr>
        <p:blipFill rotWithShape="1">
          <a:blip r:embed="rId2"/>
          <a:srcRect l="12980" r="13178"/>
          <a:stretch/>
        </p:blipFill>
        <p:spPr>
          <a:xfrm>
            <a:off x="-244699" y="-228600"/>
            <a:ext cx="9607640" cy="7315200"/>
          </a:xfrm>
          <a:prstGeom prst="rect">
            <a:avLst/>
          </a:prstGeom>
        </p:spPr>
      </p:pic>
    </p:spTree>
    <p:extLst>
      <p:ext uri="{BB962C8B-B14F-4D97-AF65-F5344CB8AC3E}">
        <p14:creationId xmlns:p14="http://schemas.microsoft.com/office/powerpoint/2010/main" val="12419418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1" y="1376967"/>
            <a:ext cx="9144000" cy="1143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dirty="0">
                <a:solidFill>
                  <a:schemeClr val="accent3">
                    <a:lumMod val="20000"/>
                    <a:lumOff val="80000"/>
                  </a:schemeClr>
                </a:solidFill>
                <a:latin typeface="Adobe Garamond Pro Bold" panose="02020702060506020403" pitchFamily="18" charset="0"/>
              </a:rPr>
              <a:t>Thank you!</a:t>
            </a:r>
          </a:p>
        </p:txBody>
      </p:sp>
      <p:cxnSp>
        <p:nvCxnSpPr>
          <p:cNvPr id="5" name="Straight Connector 4"/>
          <p:cNvCxnSpPr/>
          <p:nvPr/>
        </p:nvCxnSpPr>
        <p:spPr>
          <a:xfrm>
            <a:off x="128789" y="6173273"/>
            <a:ext cx="8860665" cy="0"/>
          </a:xfrm>
          <a:prstGeom prst="line">
            <a:avLst/>
          </a:prstGeom>
          <a:ln w="50800" cap="flat" cmpd="thickThi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96801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3175"/>
            <a:ext cx="9168599" cy="6854825"/>
          </a:xfrm>
          <a:prstGeom prst="rect">
            <a:avLst/>
          </a:prstGeom>
          <a:solidFill>
            <a:schemeClr val="accent1"/>
          </a:solidFill>
        </p:spPr>
      </p:pic>
    </p:spTree>
    <p:extLst>
      <p:ext uri="{BB962C8B-B14F-4D97-AF65-F5344CB8AC3E}">
        <p14:creationId xmlns:p14="http://schemas.microsoft.com/office/powerpoint/2010/main" val="12596946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346"/>
            <a:ext cx="9142205" cy="6859345"/>
          </a:xfrm>
          <a:prstGeom prst="rect">
            <a:avLst/>
          </a:prstGeom>
        </p:spPr>
      </p:pic>
    </p:spTree>
    <p:extLst>
      <p:ext uri="{BB962C8B-B14F-4D97-AF65-F5344CB8AC3E}">
        <p14:creationId xmlns:p14="http://schemas.microsoft.com/office/powerpoint/2010/main" val="4142170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457200" y="1086006"/>
            <a:ext cx="8229600" cy="715962"/>
          </a:xfrm>
        </p:spPr>
        <p:txBody>
          <a:bodyPr>
            <a:normAutofit fontScale="90000"/>
          </a:bodyPr>
          <a:lstStyle/>
          <a:p>
            <a:pPr algn="ctr"/>
            <a:r>
              <a:rPr lang="en-IN" dirty="0" smtClean="0"/>
              <a:t/>
            </a:r>
            <a:br>
              <a:rPr lang="en-IN" dirty="0" smtClean="0"/>
            </a:br>
            <a:r>
              <a:rPr lang="en-IN" dirty="0" smtClean="0"/>
              <a:t>Hybrid </a:t>
            </a:r>
            <a:r>
              <a:rPr lang="en-IN" dirty="0"/>
              <a:t>VS Native</a:t>
            </a:r>
            <a:br>
              <a:rPr lang="en-IN" dirty="0"/>
            </a:br>
            <a:endParaRPr lang="en-IN" dirty="0"/>
          </a:p>
        </p:txBody>
      </p:sp>
      <p:sp>
        <p:nvSpPr>
          <p:cNvPr id="2" name="TextBox 1"/>
          <p:cNvSpPr txBox="1"/>
          <p:nvPr/>
        </p:nvSpPr>
        <p:spPr>
          <a:xfrm>
            <a:off x="1107583" y="2304244"/>
            <a:ext cx="7482625" cy="2677656"/>
          </a:xfrm>
          <a:prstGeom prst="rect">
            <a:avLst/>
          </a:prstGeom>
          <a:noFill/>
        </p:spPr>
        <p:txBody>
          <a:bodyPr wrap="square" rtlCol="0">
            <a:spAutoFit/>
          </a:bodyPr>
          <a:lstStyle/>
          <a:p>
            <a:endParaRPr lang="en-IN" sz="2800" dirty="0"/>
          </a:p>
          <a:p>
            <a:pPr marL="514350" indent="-514350">
              <a:buFont typeface="Wingdings" panose="05000000000000000000" pitchFamily="2" charset="2"/>
              <a:buChar char="v"/>
            </a:pPr>
            <a:endParaRPr lang="en-IN" sz="2800" dirty="0"/>
          </a:p>
          <a:p>
            <a:pPr marL="457200" indent="-457200">
              <a:buFont typeface="Arial" panose="020B0604020202020204" pitchFamily="34" charset="0"/>
              <a:buChar char="•"/>
            </a:pPr>
            <a:r>
              <a:rPr lang="en-IN" sz="2800" dirty="0" smtClean="0"/>
              <a:t> </a:t>
            </a:r>
            <a:r>
              <a:rPr lang="en-IN" sz="2800" dirty="0"/>
              <a:t>Platform independent (</a:t>
            </a:r>
            <a:r>
              <a:rPr lang="en-IN" sz="2800" dirty="0" err="1"/>
              <a:t>iOS</a:t>
            </a:r>
            <a:r>
              <a:rPr lang="en-IN" sz="2800" dirty="0"/>
              <a:t>, Android etc.)</a:t>
            </a:r>
          </a:p>
          <a:p>
            <a:pPr marL="457200" indent="-457200">
              <a:buFont typeface="Arial" panose="020B0604020202020204" pitchFamily="34" charset="0"/>
              <a:buChar char="•"/>
            </a:pPr>
            <a:r>
              <a:rPr lang="en-IN" sz="2800" dirty="0" smtClean="0"/>
              <a:t> </a:t>
            </a:r>
            <a:r>
              <a:rPr lang="en-IN" sz="2800" dirty="0"/>
              <a:t>HTML5, CSS3 &amp; JS</a:t>
            </a:r>
          </a:p>
          <a:p>
            <a:pPr marL="457200" indent="-457200">
              <a:buFont typeface="Arial" panose="020B0604020202020204" pitchFamily="34" charset="0"/>
              <a:buChar char="•"/>
            </a:pPr>
            <a:r>
              <a:rPr lang="en-IN" sz="2800" dirty="0" smtClean="0"/>
              <a:t> </a:t>
            </a:r>
            <a:r>
              <a:rPr lang="en-IN" sz="2800" dirty="0"/>
              <a:t>Quick development</a:t>
            </a:r>
          </a:p>
          <a:p>
            <a:pPr marL="457200" indent="-457200">
              <a:buFont typeface="Arial" panose="020B0604020202020204" pitchFamily="34" charset="0"/>
              <a:buChar char="•"/>
            </a:pPr>
            <a:r>
              <a:rPr lang="en-IN" sz="2800" dirty="0" smtClean="0"/>
              <a:t> </a:t>
            </a:r>
            <a:r>
              <a:rPr lang="en-IN" sz="2800" dirty="0"/>
              <a:t>Direct access to native APIs with Cordova</a:t>
            </a:r>
          </a:p>
        </p:txBody>
      </p:sp>
      <p:sp>
        <p:nvSpPr>
          <p:cNvPr id="4" name="TextBox 3"/>
          <p:cNvSpPr txBox="1"/>
          <p:nvPr/>
        </p:nvSpPr>
        <p:spPr>
          <a:xfrm>
            <a:off x="746975" y="2421228"/>
            <a:ext cx="2468817" cy="800219"/>
          </a:xfrm>
          <a:prstGeom prst="rect">
            <a:avLst/>
          </a:prstGeom>
          <a:noFill/>
        </p:spPr>
        <p:txBody>
          <a:bodyPr wrap="none" rtlCol="0">
            <a:spAutoFit/>
          </a:bodyPr>
          <a:lstStyle/>
          <a:p>
            <a:pPr marL="457200" indent="-457200">
              <a:buFont typeface="Wingdings" panose="05000000000000000000" pitchFamily="2" charset="2"/>
              <a:buChar char="q"/>
            </a:pPr>
            <a:r>
              <a:rPr lang="en-IN" sz="2800" b="1" dirty="0"/>
              <a:t>Hybrid Apps</a:t>
            </a:r>
          </a:p>
          <a:p>
            <a:endParaRPr lang="en-IN" dirty="0"/>
          </a:p>
        </p:txBody>
      </p:sp>
    </p:spTree>
    <p:extLst>
      <p:ext uri="{BB962C8B-B14F-4D97-AF65-F5344CB8AC3E}">
        <p14:creationId xmlns:p14="http://schemas.microsoft.com/office/powerpoint/2010/main" val="18089738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90" y="3175"/>
            <a:ext cx="9161425" cy="6854825"/>
          </a:xfrm>
          <a:prstGeom prst="rect">
            <a:avLst/>
          </a:prstGeom>
        </p:spPr>
      </p:pic>
    </p:spTree>
    <p:extLst>
      <p:ext uri="{BB962C8B-B14F-4D97-AF65-F5344CB8AC3E}">
        <p14:creationId xmlns:p14="http://schemas.microsoft.com/office/powerpoint/2010/main" val="23124921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1069769"/>
            <a:ext cx="8229600" cy="1222858"/>
          </a:xfrm>
          <a:solidFill>
            <a:schemeClr val="accent2">
              <a:lumMod val="40000"/>
              <a:lumOff val="60000"/>
            </a:schemeClr>
          </a:solidFill>
        </p:spPr>
        <p:txBody>
          <a:bodyPr/>
          <a:lstStyle/>
          <a:p>
            <a:pPr algn="ctr"/>
            <a:r>
              <a:rPr lang="en-IN" dirty="0" smtClean="0">
                <a:solidFill>
                  <a:schemeClr val="accent4">
                    <a:lumMod val="50000"/>
                  </a:schemeClr>
                </a:solidFill>
              </a:rPr>
              <a:t>Cordova , Angular JS and Ionic</a:t>
            </a:r>
            <a:endParaRPr lang="en-IN" dirty="0">
              <a:solidFill>
                <a:schemeClr val="accent4">
                  <a:lumMod val="50000"/>
                </a:schemeClr>
              </a:solidFill>
            </a:endParaRP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7687" y="3614323"/>
            <a:ext cx="8048625" cy="1590675"/>
          </a:xfrm>
          <a:prstGeom prst="rect">
            <a:avLst/>
          </a:prstGeom>
        </p:spPr>
      </p:pic>
    </p:spTree>
    <p:extLst>
      <p:ext uri="{BB962C8B-B14F-4D97-AF65-F5344CB8AC3E}">
        <p14:creationId xmlns:p14="http://schemas.microsoft.com/office/powerpoint/2010/main" val="4012558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IN" dirty="0"/>
          </a:p>
        </p:txBody>
      </p:sp>
      <p:pic>
        <p:nvPicPr>
          <p:cNvPr id="4" name="Picture 3"/>
          <p:cNvPicPr>
            <a:picLocks noChangeAspect="1"/>
          </p:cNvPicPr>
          <p:nvPr/>
        </p:nvPicPr>
        <p:blipFill>
          <a:blip r:embed="rId6"/>
          <a:stretch>
            <a:fillRect/>
          </a:stretch>
        </p:blipFill>
        <p:spPr>
          <a:xfrm>
            <a:off x="-23866" y="3175"/>
            <a:ext cx="9167866" cy="6854825"/>
          </a:xfrm>
          <a:prstGeom prst="rect">
            <a:avLst/>
          </a:prstGeom>
        </p:spPr>
      </p:pic>
    </p:spTree>
    <p:extLst>
      <p:ext uri="{BB962C8B-B14F-4D97-AF65-F5344CB8AC3E}">
        <p14:creationId xmlns:p14="http://schemas.microsoft.com/office/powerpoint/2010/main" val="8590791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6"/>
          <a:srcRect l="12584" r="12782"/>
          <a:stretch/>
        </p:blipFill>
        <p:spPr>
          <a:xfrm>
            <a:off x="-296215" y="-228600"/>
            <a:ext cx="9710671" cy="7315200"/>
          </a:xfrm>
          <a:prstGeom prst="rect">
            <a:avLst/>
          </a:prstGeom>
        </p:spPr>
      </p:pic>
    </p:spTree>
    <p:extLst>
      <p:ext uri="{BB962C8B-B14F-4D97-AF65-F5344CB8AC3E}">
        <p14:creationId xmlns:p14="http://schemas.microsoft.com/office/powerpoint/2010/main" val="35971210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6"/>
          <a:srcRect l="12881" r="13277"/>
          <a:stretch/>
        </p:blipFill>
        <p:spPr>
          <a:xfrm>
            <a:off x="-257577" y="-215721"/>
            <a:ext cx="9607639" cy="7315200"/>
          </a:xfrm>
          <a:prstGeom prst="rect">
            <a:avLst/>
          </a:prstGeom>
        </p:spPr>
      </p:pic>
    </p:spTree>
    <p:extLst>
      <p:ext uri="{BB962C8B-B14F-4D97-AF65-F5344CB8AC3E}">
        <p14:creationId xmlns:p14="http://schemas.microsoft.com/office/powerpoint/2010/main" val="39268710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2" val="67c1b76df0553056cf5dedd5e937f4419fce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40-converging-arrows-powerpoint-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alpha val="46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140-converging-arrows-powerpoint-template</Template>
  <TotalTime>1508</TotalTime>
  <Words>123</Words>
  <Application>Microsoft Office PowerPoint</Application>
  <PresentationFormat>On-screen Show (4:3)</PresentationFormat>
  <Paragraphs>22</Paragraphs>
  <Slides>13</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dobe Caslon Pro</vt:lpstr>
      <vt:lpstr>Adobe Garamond Pro Bold</vt:lpstr>
      <vt:lpstr>AR JULIAN</vt:lpstr>
      <vt:lpstr>Arial</vt:lpstr>
      <vt:lpstr>Calibri</vt:lpstr>
      <vt:lpstr>Wingdings</vt:lpstr>
      <vt:lpstr>1140-converging-arrows-powerpoint-template</vt:lpstr>
      <vt:lpstr>1_Office Theme</vt:lpstr>
      <vt:lpstr>think-cell Slide</vt:lpstr>
      <vt:lpstr>Hybrid Application     Development</vt:lpstr>
      <vt:lpstr>PowerPoint Presentation</vt:lpstr>
      <vt:lpstr>PowerPoint Presentation</vt:lpstr>
      <vt:lpstr> Hybrid VS Native </vt:lpstr>
      <vt:lpstr>PowerPoint Presentation</vt:lpstr>
      <vt:lpstr>Cordova , Angular JS and Ionic</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verging Arrows Template</dc:title>
  <dc:creator>SlideHunter</dc:creator>
  <cp:lastModifiedBy>Sanket</cp:lastModifiedBy>
  <cp:revision>145</cp:revision>
  <dcterms:created xsi:type="dcterms:W3CDTF">2013-07-28T22:59:31Z</dcterms:created>
  <dcterms:modified xsi:type="dcterms:W3CDTF">2015-03-26T18:15:49Z</dcterms:modified>
</cp:coreProperties>
</file>